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4"/>
  </p:sldMasterIdLst>
  <p:notesMasterIdLst>
    <p:notesMasterId r:id="rId20"/>
  </p:notesMasterIdLst>
  <p:handoutMasterIdLst>
    <p:handoutMasterId r:id="rId21"/>
  </p:handoutMasterIdLst>
  <p:sldIdLst>
    <p:sldId id="262" r:id="rId5"/>
    <p:sldId id="306" r:id="rId6"/>
    <p:sldId id="283" r:id="rId7"/>
    <p:sldId id="280" r:id="rId8"/>
    <p:sldId id="286" r:id="rId9"/>
    <p:sldId id="285" r:id="rId10"/>
    <p:sldId id="290" r:id="rId11"/>
    <p:sldId id="302" r:id="rId12"/>
    <p:sldId id="301" r:id="rId13"/>
    <p:sldId id="292" r:id="rId14"/>
    <p:sldId id="293" r:id="rId15"/>
    <p:sldId id="307" r:id="rId16"/>
    <p:sldId id="308" r:id="rId17"/>
    <p:sldId id="309" r:id="rId18"/>
    <p:sldId id="304" r:id="rId19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4333"/>
    <a:srgbClr val="EEEA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D3EFE4-96BD-484C-B817-A897FD293D0A}" v="14" dt="2024-10-30T08:57:13.8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93557" autoAdjust="0"/>
  </p:normalViewPr>
  <p:slideViewPr>
    <p:cSldViewPr snapToGrid="0" snapToObjects="1" showGuides="1">
      <p:cViewPr varScale="1">
        <p:scale>
          <a:sx n="65" d="100"/>
          <a:sy n="65" d="100"/>
        </p:scale>
        <p:origin x="990" y="72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NTIS Valentine" userId="245efd82-0d43-4922-a685-87f861c39e87" providerId="ADAL" clId="{0AD3EFE4-96BD-484C-B817-A897FD293D0A}"/>
    <pc:docChg chg="custSel modSld">
      <pc:chgData name="SENTIS Valentine" userId="245efd82-0d43-4922-a685-87f861c39e87" providerId="ADAL" clId="{0AD3EFE4-96BD-484C-B817-A897FD293D0A}" dt="2024-11-07T10:45:47.158" v="207" actId="20577"/>
      <pc:docMkLst>
        <pc:docMk/>
      </pc:docMkLst>
      <pc:sldChg chg="addSp delSp modSp mod">
        <pc:chgData name="SENTIS Valentine" userId="245efd82-0d43-4922-a685-87f861c39e87" providerId="ADAL" clId="{0AD3EFE4-96BD-484C-B817-A897FD293D0A}" dt="2024-10-30T08:56:20.001" v="19" actId="21"/>
        <pc:sldMkLst>
          <pc:docMk/>
          <pc:sldMk cId="2180989171" sldId="262"/>
        </pc:sldMkLst>
        <pc:spChg chg="add del mod">
          <ac:chgData name="SENTIS Valentine" userId="245efd82-0d43-4922-a685-87f861c39e87" providerId="ADAL" clId="{0AD3EFE4-96BD-484C-B817-A897FD293D0A}" dt="2024-10-30T08:56:20.001" v="19" actId="21"/>
          <ac:spMkLst>
            <pc:docMk/>
            <pc:sldMk cId="2180989171" sldId="262"/>
            <ac:spMk id="2" creationId="{152B397B-C768-0486-6BC1-36EEB53D0C64}"/>
          </ac:spMkLst>
        </pc:spChg>
      </pc:sldChg>
      <pc:sldChg chg="addSp modSp">
        <pc:chgData name="SENTIS Valentine" userId="245efd82-0d43-4922-a685-87f861c39e87" providerId="ADAL" clId="{0AD3EFE4-96BD-484C-B817-A897FD293D0A}" dt="2024-10-30T08:56:59.696" v="27"/>
        <pc:sldMkLst>
          <pc:docMk/>
          <pc:sldMk cId="2594351369" sldId="280"/>
        </pc:sldMkLst>
        <pc:spChg chg="add mod">
          <ac:chgData name="SENTIS Valentine" userId="245efd82-0d43-4922-a685-87f861c39e87" providerId="ADAL" clId="{0AD3EFE4-96BD-484C-B817-A897FD293D0A}" dt="2024-10-30T08:56:59.696" v="27"/>
          <ac:spMkLst>
            <pc:docMk/>
            <pc:sldMk cId="2594351369" sldId="280"/>
            <ac:spMk id="2" creationId="{886D31E4-C71D-C555-8302-DDD62E5A5289}"/>
          </ac:spMkLst>
        </pc:spChg>
      </pc:sldChg>
      <pc:sldChg chg="addSp modSp">
        <pc:chgData name="SENTIS Valentine" userId="245efd82-0d43-4922-a685-87f861c39e87" providerId="ADAL" clId="{0AD3EFE4-96BD-484C-B817-A897FD293D0A}" dt="2024-10-30T08:56:56.597" v="26"/>
        <pc:sldMkLst>
          <pc:docMk/>
          <pc:sldMk cId="710601162" sldId="283"/>
        </pc:sldMkLst>
        <pc:spChg chg="add mod">
          <ac:chgData name="SENTIS Valentine" userId="245efd82-0d43-4922-a685-87f861c39e87" providerId="ADAL" clId="{0AD3EFE4-96BD-484C-B817-A897FD293D0A}" dt="2024-10-30T08:56:56.597" v="26"/>
          <ac:spMkLst>
            <pc:docMk/>
            <pc:sldMk cId="710601162" sldId="283"/>
            <ac:spMk id="11" creationId="{7C11AE84-B925-804B-4EDF-41411F407609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2.450" v="29"/>
        <pc:sldMkLst>
          <pc:docMk/>
          <pc:sldMk cId="4064731237" sldId="285"/>
        </pc:sldMkLst>
        <pc:spChg chg="add mod">
          <ac:chgData name="SENTIS Valentine" userId="245efd82-0d43-4922-a685-87f861c39e87" providerId="ADAL" clId="{0AD3EFE4-96BD-484C-B817-A897FD293D0A}" dt="2024-10-30T08:57:02.450" v="29"/>
          <ac:spMkLst>
            <pc:docMk/>
            <pc:sldMk cId="4064731237" sldId="285"/>
            <ac:spMk id="2" creationId="{0C6D8C3A-55A1-09D7-3FD6-CE492B2E14BB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0.925" v="28"/>
        <pc:sldMkLst>
          <pc:docMk/>
          <pc:sldMk cId="1045710081" sldId="286"/>
        </pc:sldMkLst>
        <pc:spChg chg="add mod">
          <ac:chgData name="SENTIS Valentine" userId="245efd82-0d43-4922-a685-87f861c39e87" providerId="ADAL" clId="{0AD3EFE4-96BD-484C-B817-A897FD293D0A}" dt="2024-10-30T08:57:00.925" v="28"/>
          <ac:spMkLst>
            <pc:docMk/>
            <pc:sldMk cId="1045710081" sldId="286"/>
            <ac:spMk id="3" creationId="{C7051554-0FF6-2DCA-D790-EEC27DF4DDE3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3.440" v="30"/>
        <pc:sldMkLst>
          <pc:docMk/>
          <pc:sldMk cId="1726641251" sldId="290"/>
        </pc:sldMkLst>
        <pc:spChg chg="add mod">
          <ac:chgData name="SENTIS Valentine" userId="245efd82-0d43-4922-a685-87f861c39e87" providerId="ADAL" clId="{0AD3EFE4-96BD-484C-B817-A897FD293D0A}" dt="2024-10-30T08:57:03.440" v="30"/>
          <ac:spMkLst>
            <pc:docMk/>
            <pc:sldMk cId="1726641251" sldId="290"/>
            <ac:spMk id="3" creationId="{407883CD-0666-BB89-A170-EA71E98A3E28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7.936" v="33"/>
        <pc:sldMkLst>
          <pc:docMk/>
          <pc:sldMk cId="3263114173" sldId="292"/>
        </pc:sldMkLst>
        <pc:spChg chg="add mod">
          <ac:chgData name="SENTIS Valentine" userId="245efd82-0d43-4922-a685-87f861c39e87" providerId="ADAL" clId="{0AD3EFE4-96BD-484C-B817-A897FD293D0A}" dt="2024-10-30T08:57:07.936" v="33"/>
          <ac:spMkLst>
            <pc:docMk/>
            <pc:sldMk cId="3263114173" sldId="292"/>
            <ac:spMk id="3" creationId="{4455B9E8-8A33-0D21-07E9-DEA392FB1F74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8.882" v="34"/>
        <pc:sldMkLst>
          <pc:docMk/>
          <pc:sldMk cId="3358981200" sldId="293"/>
        </pc:sldMkLst>
        <pc:spChg chg="add mod">
          <ac:chgData name="SENTIS Valentine" userId="245efd82-0d43-4922-a685-87f861c39e87" providerId="ADAL" clId="{0AD3EFE4-96BD-484C-B817-A897FD293D0A}" dt="2024-10-30T08:57:08.882" v="34"/>
          <ac:spMkLst>
            <pc:docMk/>
            <pc:sldMk cId="3358981200" sldId="293"/>
            <ac:spMk id="2" creationId="{8D8BD097-9FF4-99C2-6CBC-1CB4A1495886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6.348" v="32"/>
        <pc:sldMkLst>
          <pc:docMk/>
          <pc:sldMk cId="524006569" sldId="301"/>
        </pc:sldMkLst>
        <pc:spChg chg="add mod">
          <ac:chgData name="SENTIS Valentine" userId="245efd82-0d43-4922-a685-87f861c39e87" providerId="ADAL" clId="{0AD3EFE4-96BD-484C-B817-A897FD293D0A}" dt="2024-10-30T08:57:06.348" v="32"/>
          <ac:spMkLst>
            <pc:docMk/>
            <pc:sldMk cId="524006569" sldId="301"/>
            <ac:spMk id="5" creationId="{639681E9-6A85-4A89-C501-B809D0E4BA2E}"/>
          </ac:spMkLst>
        </pc:spChg>
      </pc:sldChg>
      <pc:sldChg chg="addSp modSp">
        <pc:chgData name="SENTIS Valentine" userId="245efd82-0d43-4922-a685-87f861c39e87" providerId="ADAL" clId="{0AD3EFE4-96BD-484C-B817-A897FD293D0A}" dt="2024-10-30T08:57:05.011" v="31"/>
        <pc:sldMkLst>
          <pc:docMk/>
          <pc:sldMk cId="408886570" sldId="302"/>
        </pc:sldMkLst>
        <pc:spChg chg="add mod">
          <ac:chgData name="SENTIS Valentine" userId="245efd82-0d43-4922-a685-87f861c39e87" providerId="ADAL" clId="{0AD3EFE4-96BD-484C-B817-A897FD293D0A}" dt="2024-10-30T08:57:05.011" v="31"/>
          <ac:spMkLst>
            <pc:docMk/>
            <pc:sldMk cId="408886570" sldId="302"/>
            <ac:spMk id="2" creationId="{314FDF3A-1271-EA9D-6D9F-5ECE9D092234}"/>
          </ac:spMkLst>
        </pc:spChg>
      </pc:sldChg>
      <pc:sldChg chg="addSp modSp">
        <pc:chgData name="SENTIS Valentine" userId="245efd82-0d43-4922-a685-87f861c39e87" providerId="ADAL" clId="{0AD3EFE4-96BD-484C-B817-A897FD293D0A}" dt="2024-10-30T08:57:13.852" v="38"/>
        <pc:sldMkLst>
          <pc:docMk/>
          <pc:sldMk cId="2884910357" sldId="304"/>
        </pc:sldMkLst>
        <pc:spChg chg="add mod">
          <ac:chgData name="SENTIS Valentine" userId="245efd82-0d43-4922-a685-87f861c39e87" providerId="ADAL" clId="{0AD3EFE4-96BD-484C-B817-A897FD293D0A}" dt="2024-10-30T08:57:13.852" v="38"/>
          <ac:spMkLst>
            <pc:docMk/>
            <pc:sldMk cId="2884910357" sldId="304"/>
            <ac:spMk id="2" creationId="{CE60B017-B834-5259-787E-E3D80C348637}"/>
          </ac:spMkLst>
        </pc:spChg>
      </pc:sldChg>
      <pc:sldChg chg="addSp modSp mod">
        <pc:chgData name="SENTIS Valentine" userId="245efd82-0d43-4922-a685-87f861c39e87" providerId="ADAL" clId="{0AD3EFE4-96BD-484C-B817-A897FD293D0A}" dt="2024-11-07T10:45:47.158" v="207" actId="20577"/>
        <pc:sldMkLst>
          <pc:docMk/>
          <pc:sldMk cId="2569779760" sldId="306"/>
        </pc:sldMkLst>
        <pc:spChg chg="mod">
          <ac:chgData name="SENTIS Valentine" userId="245efd82-0d43-4922-a685-87f861c39e87" providerId="ADAL" clId="{0AD3EFE4-96BD-484C-B817-A897FD293D0A}" dt="2024-10-30T08:56:50.461" v="25" actId="1076"/>
          <ac:spMkLst>
            <pc:docMk/>
            <pc:sldMk cId="2569779760" sldId="306"/>
            <ac:spMk id="2" creationId="{00000000-0000-0000-0000-000000000000}"/>
          </ac:spMkLst>
        </pc:spChg>
        <pc:spChg chg="mod">
          <ac:chgData name="SENTIS Valentine" userId="245efd82-0d43-4922-a685-87f861c39e87" providerId="ADAL" clId="{0AD3EFE4-96BD-484C-B817-A897FD293D0A}" dt="2024-11-07T10:45:47.158" v="207" actId="20577"/>
          <ac:spMkLst>
            <pc:docMk/>
            <pc:sldMk cId="2569779760" sldId="306"/>
            <ac:spMk id="4" creationId="{00000000-0000-0000-0000-000000000000}"/>
          </ac:spMkLst>
        </pc:spChg>
        <pc:spChg chg="add mod">
          <ac:chgData name="SENTIS Valentine" userId="245efd82-0d43-4922-a685-87f861c39e87" providerId="ADAL" clId="{0AD3EFE4-96BD-484C-B817-A897FD293D0A}" dt="2024-10-30T08:56:47.804" v="24" actId="1076"/>
          <ac:spMkLst>
            <pc:docMk/>
            <pc:sldMk cId="2569779760" sldId="306"/>
            <ac:spMk id="5" creationId="{152B397B-C768-0486-6BC1-36EEB53D0C64}"/>
          </ac:spMkLst>
        </pc:spChg>
      </pc:sldChg>
      <pc:sldChg chg="addSp modSp">
        <pc:chgData name="SENTIS Valentine" userId="245efd82-0d43-4922-a685-87f861c39e87" providerId="ADAL" clId="{0AD3EFE4-96BD-484C-B817-A897FD293D0A}" dt="2024-10-30T08:57:10.172" v="35"/>
        <pc:sldMkLst>
          <pc:docMk/>
          <pc:sldMk cId="2521338729" sldId="307"/>
        </pc:sldMkLst>
        <pc:spChg chg="add mod">
          <ac:chgData name="SENTIS Valentine" userId="245efd82-0d43-4922-a685-87f861c39e87" providerId="ADAL" clId="{0AD3EFE4-96BD-484C-B817-A897FD293D0A}" dt="2024-10-30T08:57:10.172" v="35"/>
          <ac:spMkLst>
            <pc:docMk/>
            <pc:sldMk cId="2521338729" sldId="307"/>
            <ac:spMk id="2" creationId="{5BFB3FF8-6654-62C3-D326-77270CF7E55E}"/>
          </ac:spMkLst>
        </pc:spChg>
      </pc:sldChg>
      <pc:sldChg chg="addSp modSp">
        <pc:chgData name="SENTIS Valentine" userId="245efd82-0d43-4922-a685-87f861c39e87" providerId="ADAL" clId="{0AD3EFE4-96BD-484C-B817-A897FD293D0A}" dt="2024-10-30T08:57:11.521" v="36"/>
        <pc:sldMkLst>
          <pc:docMk/>
          <pc:sldMk cId="510107571" sldId="308"/>
        </pc:sldMkLst>
        <pc:spChg chg="add mod">
          <ac:chgData name="SENTIS Valentine" userId="245efd82-0d43-4922-a685-87f861c39e87" providerId="ADAL" clId="{0AD3EFE4-96BD-484C-B817-A897FD293D0A}" dt="2024-10-30T08:57:11.521" v="36"/>
          <ac:spMkLst>
            <pc:docMk/>
            <pc:sldMk cId="510107571" sldId="308"/>
            <ac:spMk id="2" creationId="{2BA8BA75-C002-0DB3-FDCB-F069D9B139A8}"/>
          </ac:spMkLst>
        </pc:spChg>
      </pc:sldChg>
      <pc:sldChg chg="addSp modSp">
        <pc:chgData name="SENTIS Valentine" userId="245efd82-0d43-4922-a685-87f861c39e87" providerId="ADAL" clId="{0AD3EFE4-96BD-484C-B817-A897FD293D0A}" dt="2024-10-30T08:57:12.713" v="37"/>
        <pc:sldMkLst>
          <pc:docMk/>
          <pc:sldMk cId="2858997803" sldId="309"/>
        </pc:sldMkLst>
        <pc:spChg chg="add mod">
          <ac:chgData name="SENTIS Valentine" userId="245efd82-0d43-4922-a685-87f861c39e87" providerId="ADAL" clId="{0AD3EFE4-96BD-484C-B817-A897FD293D0A}" dt="2024-10-30T08:57:12.713" v="37"/>
          <ac:spMkLst>
            <pc:docMk/>
            <pc:sldMk cId="2858997803" sldId="309"/>
            <ac:spMk id="3" creationId="{6B0E09C9-3AA5-68AA-7A3F-313A5213F25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5/11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5/11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dirty="0"/>
              <a:t>Digitalisation et Décarbonation des Mobilités</a:t>
            </a:r>
            <a:endParaRPr lang="fr-FR" b="1" dirty="0"/>
          </a:p>
          <a:p>
            <a:r>
              <a:rPr lang="fr-FR" b="1" dirty="0"/>
              <a:t>Appel à Projet : </a:t>
            </a:r>
            <a:r>
              <a:rPr lang="fr-FR" dirty="0"/>
              <a:t>CORIMER – Navires Bas Carbone</a:t>
            </a: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55B9E8-8A33-0D21-07E9-DEA392FB1F74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D8BD097-9FF4-99C2-6CBC-1CB4A1495886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FB3FF8-6654-62C3-D326-77270CF7E55E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BA8BA75-C002-0DB3-FDCB-F069D9B139A8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0E09C9-3AA5-68AA-7A3F-313A5213F252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E60B017-B834-5259-787E-E3D80C348637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 et non engageantes.</a:t>
            </a: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slides ci-dessous peuvent être adaptées en fonction de la particularité du projet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5981084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2B397B-C768-0486-6BC1-36EEB53D0C64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CORIMER – Navires Bas Carbone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C11AE84-B925-804B-4EDF-41411F407609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6D31E4-C71D-C555-8302-DDD62E5A5289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051554-0FF6-2DCA-D790-EEC27DF4DDE3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6D8C3A-55A1-09D7-3FD6-CE492B2E14BB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7883CD-0666-BB89-A170-EA71E98A3E28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14FDF3A-1271-EA9D-6D9F-5ECE9D092234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9681E9-6A85-4A89-C501-B809D0E4BA2E}"/>
              </a:ext>
            </a:extLst>
          </p:cNvPr>
          <p:cNvSpPr/>
          <p:nvPr/>
        </p:nvSpPr>
        <p:spPr>
          <a:xfrm>
            <a:off x="10112575" y="6452427"/>
            <a:ext cx="1582057" cy="261610"/>
          </a:xfrm>
          <a:prstGeom prst="rect">
            <a:avLst/>
          </a:prstGeom>
          <a:noFill/>
          <a:ln>
            <a:solidFill>
              <a:srgbClr val="EF4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2"/>
                </a:solidFill>
                <a:latin typeface="Gill Sans MT" pitchFamily="34" charset="0"/>
              </a:rPr>
              <a:t>CONFIDENTIEL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4236460BACF14F8124E54B96D4F871" ma:contentTypeVersion="14" ma:contentTypeDescription="Crée un document." ma:contentTypeScope="" ma:versionID="60b438ca4b24baeec55577a2e147e3e7">
  <xsd:schema xmlns:xsd="http://www.w3.org/2001/XMLSchema" xmlns:xs="http://www.w3.org/2001/XMLSchema" xmlns:p="http://schemas.microsoft.com/office/2006/metadata/properties" xmlns:ns2="2a5e44a5-5f11-428a-a25c-c47a3e8cab48" xmlns:ns3="fdf58644-03cd-470f-a924-695d40eb6135" targetNamespace="http://schemas.microsoft.com/office/2006/metadata/properties" ma:root="true" ma:fieldsID="fa950528a8b4e6e25b308f968416593c" ns2:_="" ns3:_="">
    <xsd:import namespace="2a5e44a5-5f11-428a-a25c-c47a3e8cab48"/>
    <xsd:import namespace="fdf58644-03cd-470f-a924-695d40eb61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DateTaken" minOccurs="0"/>
                <xsd:element ref="ns2:Ressourc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5e44a5-5f11-428a-a25c-c47a3e8cab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alises d’images" ma:readOnly="false" ma:fieldId="{5cf76f15-5ced-4ddc-b409-7134ff3c332f}" ma:taxonomyMulti="true" ma:sspId="faaaa922-7a9d-4888-b0c0-3cd0453685d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Ressources" ma:index="21" nillable="true" ma:displayName="Ressources" ma:format="Dropdown" ma:internalName="Ressource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f58644-03cd-470f-a924-695d40eb6135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fb56114b-f27f-4b72-b2a8-f9562c8da8b2}" ma:internalName="TaxCatchAll" ma:showField="CatchAllData" ma:web="fdf58644-03cd-470f-a924-695d40eb61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a5e44a5-5f11-428a-a25c-c47a3e8cab48">
      <Terms xmlns="http://schemas.microsoft.com/office/infopath/2007/PartnerControls"/>
    </lcf76f155ced4ddcb4097134ff3c332f>
    <TaxCatchAll xmlns="fdf58644-03cd-470f-a924-695d40eb6135" xsi:nil="true"/>
    <Ressources xmlns="2a5e44a5-5f11-428a-a25c-c47a3e8cab48" xsi:nil="true"/>
  </documentManagement>
</p:properties>
</file>

<file path=customXml/itemProps1.xml><?xml version="1.0" encoding="utf-8"?>
<ds:datastoreItem xmlns:ds="http://schemas.openxmlformats.org/officeDocument/2006/customXml" ds:itemID="{99EF9B0F-3512-44BF-A6FF-8ED443A351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C2BC106-2FCE-4510-AF13-655DC10B6E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5e44a5-5f11-428a-a25c-c47a3e8cab48"/>
    <ds:schemaRef ds:uri="fdf58644-03cd-470f-a924-695d40eb61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B8E6A5A-94BD-4F16-BDBC-84E55EB09A97}">
  <ds:schemaRefs>
    <ds:schemaRef ds:uri="http://schemas.microsoft.com/office/2006/metadata/properties"/>
    <ds:schemaRef ds:uri="http://schemas.microsoft.com/office/infopath/2007/PartnerControls"/>
    <ds:schemaRef ds:uri="2a5e44a5-5f11-428a-a25c-c47a3e8cab48"/>
    <ds:schemaRef ds:uri="fdf58644-03cd-470f-a924-695d40eb613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0</TotalTime>
  <Words>1665</Words>
  <Application>Microsoft Office PowerPoint</Application>
  <PresentationFormat>Grand écran</PresentationFormat>
  <Paragraphs>223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ＭＳ Ｐゴシック</vt:lpstr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CORIMER – Navires Bas Carbone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TANINEC Alexandra</cp:lastModifiedBy>
  <cp:revision>824</cp:revision>
  <cp:lastPrinted>2017-04-19T15:45:38Z</cp:lastPrinted>
  <dcterms:created xsi:type="dcterms:W3CDTF">2015-06-10T16:17:23Z</dcterms:created>
  <dcterms:modified xsi:type="dcterms:W3CDTF">2024-11-15T10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4236460BACF14F8124E54B96D4F871</vt:lpwstr>
  </property>
  <property fmtid="{D5CDD505-2E9C-101B-9397-08002B2CF9AE}" pid="3" name="MediaServiceImageTags">
    <vt:lpwstr/>
  </property>
</Properties>
</file>